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7"/>
  </p:notesMasterIdLst>
  <p:sldIdLst>
    <p:sldId id="256" r:id="rId5"/>
    <p:sldId id="2142533979" r:id="rId6"/>
    <p:sldId id="2142533960" r:id="rId7"/>
    <p:sldId id="2142533941" r:id="rId8"/>
    <p:sldId id="2142533980" r:id="rId9"/>
    <p:sldId id="2142533933" r:id="rId10"/>
    <p:sldId id="2142533981" r:id="rId11"/>
    <p:sldId id="2142533982" r:id="rId12"/>
    <p:sldId id="2142533983" r:id="rId13"/>
    <p:sldId id="2142533961" r:id="rId14"/>
    <p:sldId id="2142533962" r:id="rId15"/>
    <p:sldId id="2142533984" r:id="rId16"/>
  </p:sldIdLst>
  <p:sldSz cx="12192000" cy="6858000"/>
  <p:notesSz cx="7010400" cy="92964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2BD2409-4783-94C6-24ED-8F104993044D}" name="Gwen Earp" initials="GE" userId="S::gwen.earp@ncosc.gov::7bfa86de-9fea-4123-abc5-e80c6336bff7" providerId="AD"/>
  <p188:author id="{2641430B-19C4-79B1-E62B-D1A6EE0B05D3}" name="Lena Andrade" initials="LA" userId="S::lena.andrade@ncosc.gov::66f130b5-8f6a-4cce-94d9-10c7f9b5d180" providerId="AD"/>
  <p188:author id="{C218A627-5283-A4F2-9910-44B59D99441F}" name="Frank Newsom" initials="FN" userId="S::frank.newsom@ncosc.gov::ad68d3cd-c08c-4937-a778-120681219286" providerId="AD"/>
  <p188:author id="{23F33246-ECC7-C865-68FE-E434F8A3A64D}" name="Taylor Brumbeloe" initials="TB" userId="S::taylor.brumbeloe@ncosc.gov::99848075-0e08-4b90-82f6-9f892778f08b" providerId="AD"/>
  <p188:author id="{D0C2BECF-410D-4987-EAEF-28990FD44FF9}" name="Newsom, Frank" initials="FN" userId="S::Frank.Newsom@osc.nc.gov::43263cff-9d6c-4aab-839d-9e2757de01af" providerId="AD"/>
  <p188:author id="{1F223AF6-030B-9F69-965C-2378D7A04DE3}" name="Lena Andrade" initials="LA" userId="S::Lena.Andrade@ncosc.gov::66f130b5-8f6a-4cce-94d9-10c7f9b5d18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328B"/>
    <a:srgbClr val="AFABAB"/>
    <a:srgbClr val="FFFFFF"/>
    <a:srgbClr val="2F33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C571114-F766-4E99-A3F4-5C0BD9A53542}" v="15" dt="2026-02-18T15:48:44.9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pril Durrence" userId="2314a7d0-99d3-4144-8a7f-648170c8b7b7" providerId="ADAL" clId="{EAE80DB9-CB43-4440-9E5C-0B0573E509B3}"/>
    <pc:docChg chg="undo custSel addSld delSld modSld modMainMaster">
      <pc:chgData name="April Durrence" userId="2314a7d0-99d3-4144-8a7f-648170c8b7b7" providerId="ADAL" clId="{EAE80DB9-CB43-4440-9E5C-0B0573E509B3}" dt="2026-02-19T18:24:20.818" v="180" actId="20577"/>
      <pc:docMkLst>
        <pc:docMk/>
      </pc:docMkLst>
      <pc:sldChg chg="modSp mod">
        <pc:chgData name="April Durrence" userId="2314a7d0-99d3-4144-8a7f-648170c8b7b7" providerId="ADAL" clId="{EAE80DB9-CB43-4440-9E5C-0B0573E509B3}" dt="2026-02-18T15:51:11.337" v="161" actId="207"/>
        <pc:sldMkLst>
          <pc:docMk/>
          <pc:sldMk cId="3327736868" sldId="256"/>
        </pc:sldMkLst>
        <pc:spChg chg="mod">
          <ac:chgData name="April Durrence" userId="2314a7d0-99d3-4144-8a7f-648170c8b7b7" providerId="ADAL" clId="{EAE80DB9-CB43-4440-9E5C-0B0573E509B3}" dt="2026-02-18T15:51:11.337" v="161" actId="207"/>
          <ac:spMkLst>
            <pc:docMk/>
            <pc:sldMk cId="3327736868" sldId="256"/>
            <ac:spMk id="2" creationId="{88AC579C-4068-AE91-7B91-41029F0E7971}"/>
          </ac:spMkLst>
        </pc:spChg>
      </pc:sldChg>
      <pc:sldChg chg="del">
        <pc:chgData name="April Durrence" userId="2314a7d0-99d3-4144-8a7f-648170c8b7b7" providerId="ADAL" clId="{EAE80DB9-CB43-4440-9E5C-0B0573E509B3}" dt="2026-02-18T15:21:25.548" v="3" actId="47"/>
        <pc:sldMkLst>
          <pc:docMk/>
          <pc:sldMk cId="1756922068" sldId="2142533910"/>
        </pc:sldMkLst>
      </pc:sldChg>
      <pc:sldChg chg="modSp del mod">
        <pc:chgData name="April Durrence" userId="2314a7d0-99d3-4144-8a7f-648170c8b7b7" providerId="ADAL" clId="{EAE80DB9-CB43-4440-9E5C-0B0573E509B3}" dt="2026-02-18T15:27:30.310" v="51" actId="47"/>
        <pc:sldMkLst>
          <pc:docMk/>
          <pc:sldMk cId="877028332" sldId="2142533927"/>
        </pc:sldMkLst>
        <pc:spChg chg="mod">
          <ac:chgData name="April Durrence" userId="2314a7d0-99d3-4144-8a7f-648170c8b7b7" providerId="ADAL" clId="{EAE80DB9-CB43-4440-9E5C-0B0573E509B3}" dt="2026-02-18T15:24:31.511" v="41" actId="20577"/>
          <ac:spMkLst>
            <pc:docMk/>
            <pc:sldMk cId="877028332" sldId="2142533927"/>
            <ac:spMk id="2" creationId="{5EB7A568-AE32-79FD-4C9A-528155C918ED}"/>
          </ac:spMkLst>
        </pc:spChg>
      </pc:sldChg>
      <pc:sldChg chg="modSp mod">
        <pc:chgData name="April Durrence" userId="2314a7d0-99d3-4144-8a7f-648170c8b7b7" providerId="ADAL" clId="{EAE80DB9-CB43-4440-9E5C-0B0573E509B3}" dt="2026-02-18T15:49:47.855" v="155" actId="13244"/>
        <pc:sldMkLst>
          <pc:docMk/>
          <pc:sldMk cId="478363835" sldId="2142533933"/>
        </pc:sldMkLst>
        <pc:spChg chg="mod">
          <ac:chgData name="April Durrence" userId="2314a7d0-99d3-4144-8a7f-648170c8b7b7" providerId="ADAL" clId="{EAE80DB9-CB43-4440-9E5C-0B0573E509B3}" dt="2026-02-18T15:27:42.752" v="52" actId="207"/>
          <ac:spMkLst>
            <pc:docMk/>
            <pc:sldMk cId="478363835" sldId="2142533933"/>
            <ac:spMk id="2" creationId="{DB9379A8-69E4-98BE-57B5-3446CDF1B985}"/>
          </ac:spMkLst>
        </pc:spChg>
        <pc:spChg chg="ord">
          <ac:chgData name="April Durrence" userId="2314a7d0-99d3-4144-8a7f-648170c8b7b7" providerId="ADAL" clId="{EAE80DB9-CB43-4440-9E5C-0B0573E509B3}" dt="2026-02-18T15:49:47.855" v="155" actId="13244"/>
          <ac:spMkLst>
            <pc:docMk/>
            <pc:sldMk cId="478363835" sldId="2142533933"/>
            <ac:spMk id="3" creationId="{892CA817-057A-4DC2-BF4B-21443FA7DFEF}"/>
          </ac:spMkLst>
        </pc:spChg>
        <pc:spChg chg="mod">
          <ac:chgData name="April Durrence" userId="2314a7d0-99d3-4144-8a7f-648170c8b7b7" providerId="ADAL" clId="{EAE80DB9-CB43-4440-9E5C-0B0573E509B3}" dt="2026-02-18T15:49:36.551" v="154" actId="962"/>
          <ac:spMkLst>
            <pc:docMk/>
            <pc:sldMk cId="478363835" sldId="2142533933"/>
            <ac:spMk id="4" creationId="{0FC8420C-F56F-D82A-6BE5-1305F8D953BB}"/>
          </ac:spMkLst>
        </pc:spChg>
      </pc:sldChg>
      <pc:sldChg chg="addSp delSp modSp del mod addAnim delAnim">
        <pc:chgData name="April Durrence" userId="2314a7d0-99d3-4144-8a7f-648170c8b7b7" providerId="ADAL" clId="{EAE80DB9-CB43-4440-9E5C-0B0573E509B3}" dt="2026-02-18T15:40:22.222" v="137" actId="47"/>
        <pc:sldMkLst>
          <pc:docMk/>
          <pc:sldMk cId="3362824091" sldId="2142533934"/>
        </pc:sldMkLst>
        <pc:spChg chg="add del mod">
          <ac:chgData name="April Durrence" userId="2314a7d0-99d3-4144-8a7f-648170c8b7b7" providerId="ADAL" clId="{EAE80DB9-CB43-4440-9E5C-0B0573E509B3}" dt="2026-02-18T15:37:56.903" v="128" actId="21"/>
          <ac:spMkLst>
            <pc:docMk/>
            <pc:sldMk cId="3362824091" sldId="2142533934"/>
            <ac:spMk id="2" creationId="{5EB7A568-AE32-79FD-4C9A-528155C918ED}"/>
          </ac:spMkLst>
        </pc:spChg>
        <pc:spChg chg="add del">
          <ac:chgData name="April Durrence" userId="2314a7d0-99d3-4144-8a7f-648170c8b7b7" providerId="ADAL" clId="{EAE80DB9-CB43-4440-9E5C-0B0573E509B3}" dt="2026-02-18T15:38:31.758" v="130" actId="478"/>
          <ac:spMkLst>
            <pc:docMk/>
            <pc:sldMk cId="3362824091" sldId="2142533934"/>
            <ac:spMk id="5" creationId="{E8A18837-4CAB-DF38-CE10-8AAD5785CA27}"/>
          </ac:spMkLst>
        </pc:spChg>
        <pc:spChg chg="add">
          <ac:chgData name="April Durrence" userId="2314a7d0-99d3-4144-8a7f-648170c8b7b7" providerId="ADAL" clId="{EAE80DB9-CB43-4440-9E5C-0B0573E509B3}" dt="2026-02-18T15:38:44.468" v="131" actId="22"/>
          <ac:spMkLst>
            <pc:docMk/>
            <pc:sldMk cId="3362824091" sldId="2142533934"/>
            <ac:spMk id="7" creationId="{789992F3-AC37-48D9-F0ED-238E0E2059BE}"/>
          </ac:spMkLst>
        </pc:spChg>
      </pc:sldChg>
      <pc:sldChg chg="modSp mod">
        <pc:chgData name="April Durrence" userId="2314a7d0-99d3-4144-8a7f-648170c8b7b7" providerId="ADAL" clId="{EAE80DB9-CB43-4440-9E5C-0B0573E509B3}" dt="2026-02-18T15:51:20.031" v="163" actId="207"/>
        <pc:sldMkLst>
          <pc:docMk/>
          <pc:sldMk cId="3934225458" sldId="2142533941"/>
        </pc:sldMkLst>
        <pc:spChg chg="mod ord">
          <ac:chgData name="April Durrence" userId="2314a7d0-99d3-4144-8a7f-648170c8b7b7" providerId="ADAL" clId="{EAE80DB9-CB43-4440-9E5C-0B0573E509B3}" dt="2026-02-18T15:51:20.031" v="163" actId="207"/>
          <ac:spMkLst>
            <pc:docMk/>
            <pc:sldMk cId="3934225458" sldId="2142533941"/>
            <ac:spMk id="2" creationId="{DB9379A8-69E4-98BE-57B5-3446CDF1B985}"/>
          </ac:spMkLst>
        </pc:spChg>
      </pc:sldChg>
      <pc:sldChg chg="del">
        <pc:chgData name="April Durrence" userId="2314a7d0-99d3-4144-8a7f-648170c8b7b7" providerId="ADAL" clId="{EAE80DB9-CB43-4440-9E5C-0B0573E509B3}" dt="2026-02-18T15:30:19.369" v="92" actId="47"/>
        <pc:sldMkLst>
          <pc:docMk/>
          <pc:sldMk cId="3920678172" sldId="2142533948"/>
        </pc:sldMkLst>
      </pc:sldChg>
      <pc:sldChg chg="modSp mod">
        <pc:chgData name="April Durrence" userId="2314a7d0-99d3-4144-8a7f-648170c8b7b7" providerId="ADAL" clId="{EAE80DB9-CB43-4440-9E5C-0B0573E509B3}" dt="2026-02-18T15:51:27.402" v="164" actId="207"/>
        <pc:sldMkLst>
          <pc:docMk/>
          <pc:sldMk cId="3936269745" sldId="2142533960"/>
        </pc:sldMkLst>
        <pc:spChg chg="mod">
          <ac:chgData name="April Durrence" userId="2314a7d0-99d3-4144-8a7f-648170c8b7b7" providerId="ADAL" clId="{EAE80DB9-CB43-4440-9E5C-0B0573E509B3}" dt="2026-02-18T15:51:27.402" v="164" actId="207"/>
          <ac:spMkLst>
            <pc:docMk/>
            <pc:sldMk cId="3936269745" sldId="2142533960"/>
            <ac:spMk id="2" creationId="{BC66CA78-3C6C-BCAE-F523-E4CB71A7B021}"/>
          </ac:spMkLst>
        </pc:spChg>
        <pc:spChg chg="mod">
          <ac:chgData name="April Durrence" userId="2314a7d0-99d3-4144-8a7f-648170c8b7b7" providerId="ADAL" clId="{EAE80DB9-CB43-4440-9E5C-0B0573E509B3}" dt="2026-02-18T15:23:00.181" v="6" actId="948"/>
          <ac:spMkLst>
            <pc:docMk/>
            <pc:sldMk cId="3936269745" sldId="2142533960"/>
            <ac:spMk id="9" creationId="{0532B563-5D90-C151-F065-DCA4C7B807F4}"/>
          </ac:spMkLst>
        </pc:spChg>
      </pc:sldChg>
      <pc:sldChg chg="modSp mod">
        <pc:chgData name="April Durrence" userId="2314a7d0-99d3-4144-8a7f-648170c8b7b7" providerId="ADAL" clId="{EAE80DB9-CB43-4440-9E5C-0B0573E509B3}" dt="2026-02-18T15:51:46.677" v="168" actId="207"/>
        <pc:sldMkLst>
          <pc:docMk/>
          <pc:sldMk cId="826482512" sldId="2142533961"/>
        </pc:sldMkLst>
        <pc:spChg chg="mod ord">
          <ac:chgData name="April Durrence" userId="2314a7d0-99d3-4144-8a7f-648170c8b7b7" providerId="ADAL" clId="{EAE80DB9-CB43-4440-9E5C-0B0573E509B3}" dt="2026-02-18T15:51:46.677" v="168" actId="207"/>
          <ac:spMkLst>
            <pc:docMk/>
            <pc:sldMk cId="826482512" sldId="2142533961"/>
            <ac:spMk id="2" creationId="{44299DF0-B812-F135-44C3-82D635C02E22}"/>
          </ac:spMkLst>
        </pc:spChg>
        <pc:spChg chg="mod">
          <ac:chgData name="April Durrence" userId="2314a7d0-99d3-4144-8a7f-648170c8b7b7" providerId="ADAL" clId="{EAE80DB9-CB43-4440-9E5C-0B0573E509B3}" dt="2026-02-18T15:41:29.278" v="144" actId="962"/>
          <ac:spMkLst>
            <pc:docMk/>
            <pc:sldMk cId="826482512" sldId="2142533961"/>
            <ac:spMk id="4" creationId="{5529F84F-C6D4-4582-1513-F3C204EA6236}"/>
          </ac:spMkLst>
        </pc:spChg>
      </pc:sldChg>
      <pc:sldChg chg="addSp delSp modSp mod">
        <pc:chgData name="April Durrence" userId="2314a7d0-99d3-4144-8a7f-648170c8b7b7" providerId="ADAL" clId="{EAE80DB9-CB43-4440-9E5C-0B0573E509B3}" dt="2026-02-18T15:48:44.916" v="152"/>
        <pc:sldMkLst>
          <pc:docMk/>
          <pc:sldMk cId="1923454256" sldId="2142533962"/>
        </pc:sldMkLst>
        <pc:spChg chg="add mod">
          <ac:chgData name="April Durrence" userId="2314a7d0-99d3-4144-8a7f-648170c8b7b7" providerId="ADAL" clId="{EAE80DB9-CB43-4440-9E5C-0B0573E509B3}" dt="2026-02-18T15:48:44.916" v="152"/>
          <ac:spMkLst>
            <pc:docMk/>
            <pc:sldMk cId="1923454256" sldId="2142533962"/>
            <ac:spMk id="2" creationId="{B6AC23FC-A7A1-17C0-24DB-78E9063703A5}"/>
          </ac:spMkLst>
        </pc:spChg>
        <pc:spChg chg="del">
          <ac:chgData name="April Durrence" userId="2314a7d0-99d3-4144-8a7f-648170c8b7b7" providerId="ADAL" clId="{EAE80DB9-CB43-4440-9E5C-0B0573E509B3}" dt="2026-02-18T15:40:36.916" v="138" actId="478"/>
          <ac:spMkLst>
            <pc:docMk/>
            <pc:sldMk cId="1923454256" sldId="2142533962"/>
            <ac:spMk id="5" creationId="{FE9B83F1-8EF2-199F-FB9E-E27DFDD81B31}"/>
          </ac:spMkLst>
        </pc:spChg>
        <pc:spChg chg="mod ord">
          <ac:chgData name="April Durrence" userId="2314a7d0-99d3-4144-8a7f-648170c8b7b7" providerId="ADAL" clId="{EAE80DB9-CB43-4440-9E5C-0B0573E509B3}" dt="2026-02-18T15:41:10.326" v="143" actId="13244"/>
          <ac:spMkLst>
            <pc:docMk/>
            <pc:sldMk cId="1923454256" sldId="2142533962"/>
            <ac:spMk id="7" creationId="{B84F4F7E-0493-2E5E-AC35-E496F1CB9C69}"/>
          </ac:spMkLst>
        </pc:spChg>
        <pc:spChg chg="del">
          <ac:chgData name="April Durrence" userId="2314a7d0-99d3-4144-8a7f-648170c8b7b7" providerId="ADAL" clId="{EAE80DB9-CB43-4440-9E5C-0B0573E509B3}" dt="2026-02-18T15:40:40.882" v="139" actId="478"/>
          <ac:spMkLst>
            <pc:docMk/>
            <pc:sldMk cId="1923454256" sldId="2142533962"/>
            <ac:spMk id="14" creationId="{E6D5DCC4-3529-7D60-1180-222CD89F4D31}"/>
          </ac:spMkLst>
        </pc:spChg>
        <pc:spChg chg="del">
          <ac:chgData name="April Durrence" userId="2314a7d0-99d3-4144-8a7f-648170c8b7b7" providerId="ADAL" clId="{EAE80DB9-CB43-4440-9E5C-0B0573E509B3}" dt="2026-02-18T15:40:43.022" v="140" actId="478"/>
          <ac:spMkLst>
            <pc:docMk/>
            <pc:sldMk cId="1923454256" sldId="2142533962"/>
            <ac:spMk id="20" creationId="{A1DEEC7B-D754-770F-13C7-8F0F09155E02}"/>
          </ac:spMkLst>
        </pc:spChg>
        <pc:spChg chg="mod">
          <ac:chgData name="April Durrence" userId="2314a7d0-99d3-4144-8a7f-648170c8b7b7" providerId="ADAL" clId="{EAE80DB9-CB43-4440-9E5C-0B0573E509B3}" dt="2026-02-18T15:36:51.301" v="120" actId="207"/>
          <ac:spMkLst>
            <pc:docMk/>
            <pc:sldMk cId="1923454256" sldId="2142533962"/>
            <ac:spMk id="26" creationId="{8D286AA1-5666-9B4E-6EC2-F2E3497A1033}"/>
          </ac:spMkLst>
        </pc:spChg>
        <pc:picChg chg="del mod">
          <ac:chgData name="April Durrence" userId="2314a7d0-99d3-4144-8a7f-648170c8b7b7" providerId="ADAL" clId="{EAE80DB9-CB43-4440-9E5C-0B0573E509B3}" dt="2026-02-18T15:42:10.229" v="146" actId="478"/>
          <ac:picMkLst>
            <pc:docMk/>
            <pc:sldMk cId="1923454256" sldId="2142533962"/>
            <ac:picMk id="3" creationId="{F2165495-5595-53F6-A936-3B9A09CD396F}"/>
          </ac:picMkLst>
        </pc:picChg>
        <pc:picChg chg="del mod">
          <ac:chgData name="April Durrence" userId="2314a7d0-99d3-4144-8a7f-648170c8b7b7" providerId="ADAL" clId="{EAE80DB9-CB43-4440-9E5C-0B0573E509B3}" dt="2026-02-18T15:42:13.091" v="147" actId="478"/>
          <ac:picMkLst>
            <pc:docMk/>
            <pc:sldMk cId="1923454256" sldId="2142533962"/>
            <ac:picMk id="6" creationId="{24DED6A3-F58D-6C4D-77B7-D9BDABDB4F9A}"/>
          </ac:picMkLst>
        </pc:picChg>
      </pc:sldChg>
      <pc:sldChg chg="add del">
        <pc:chgData name="April Durrence" userId="2314a7d0-99d3-4144-8a7f-648170c8b7b7" providerId="ADAL" clId="{EAE80DB9-CB43-4440-9E5C-0B0573E509B3}" dt="2026-02-18T15:33:20.371" v="97" actId="47"/>
        <pc:sldMkLst>
          <pc:docMk/>
          <pc:sldMk cId="3253003878" sldId="2142533973"/>
        </pc:sldMkLst>
      </pc:sldChg>
      <pc:sldChg chg="del">
        <pc:chgData name="April Durrence" userId="2314a7d0-99d3-4144-8a7f-648170c8b7b7" providerId="ADAL" clId="{EAE80DB9-CB43-4440-9E5C-0B0573E509B3}" dt="2026-02-18T15:34:14.053" v="100" actId="47"/>
        <pc:sldMkLst>
          <pc:docMk/>
          <pc:sldMk cId="684234938" sldId="2142533974"/>
        </pc:sldMkLst>
      </pc:sldChg>
      <pc:sldChg chg="addSp modSp add mod">
        <pc:chgData name="April Durrence" userId="2314a7d0-99d3-4144-8a7f-648170c8b7b7" providerId="ADAL" clId="{EAE80DB9-CB43-4440-9E5C-0B0573E509B3}" dt="2026-02-18T15:51:07.574" v="160" actId="207"/>
        <pc:sldMkLst>
          <pc:docMk/>
          <pc:sldMk cId="244713199" sldId="2142533979"/>
        </pc:sldMkLst>
        <pc:spChg chg="mod">
          <ac:chgData name="April Durrence" userId="2314a7d0-99d3-4144-8a7f-648170c8b7b7" providerId="ADAL" clId="{EAE80DB9-CB43-4440-9E5C-0B0573E509B3}" dt="2026-02-18T15:51:07.574" v="160" actId="207"/>
          <ac:spMkLst>
            <pc:docMk/>
            <pc:sldMk cId="244713199" sldId="2142533979"/>
            <ac:spMk id="2" creationId="{FE079C65-C11C-71FF-4CEE-47F034248701}"/>
          </ac:spMkLst>
        </pc:spChg>
        <pc:spChg chg="add mod">
          <ac:chgData name="April Durrence" userId="2314a7d0-99d3-4144-8a7f-648170c8b7b7" providerId="ADAL" clId="{EAE80DB9-CB43-4440-9E5C-0B0573E509B3}" dt="2026-02-18T15:21:16.945" v="2"/>
          <ac:spMkLst>
            <pc:docMk/>
            <pc:sldMk cId="244713199" sldId="2142533979"/>
            <ac:spMk id="3" creationId="{DC19CFD5-D453-9681-67E7-670571E09FDF}"/>
          </ac:spMkLst>
        </pc:spChg>
      </pc:sldChg>
      <pc:sldChg chg="addSp modSp add mod">
        <pc:chgData name="April Durrence" userId="2314a7d0-99d3-4144-8a7f-648170c8b7b7" providerId="ADAL" clId="{EAE80DB9-CB43-4440-9E5C-0B0573E509B3}" dt="2026-02-18T17:08:52.415" v="177" actId="208"/>
        <pc:sldMkLst>
          <pc:docMk/>
          <pc:sldMk cId="3029099219" sldId="2142533980"/>
        </pc:sldMkLst>
        <pc:spChg chg="mod">
          <ac:chgData name="April Durrence" userId="2314a7d0-99d3-4144-8a7f-648170c8b7b7" providerId="ADAL" clId="{EAE80DB9-CB43-4440-9E5C-0B0573E509B3}" dt="2026-02-18T15:51:16.250" v="162" actId="207"/>
          <ac:spMkLst>
            <pc:docMk/>
            <pc:sldMk cId="3029099219" sldId="2142533980"/>
            <ac:spMk id="2" creationId="{5EB7A568-AE32-79FD-4C9A-528155C918ED}"/>
          </ac:spMkLst>
        </pc:spChg>
        <pc:spChg chg="add mod">
          <ac:chgData name="April Durrence" userId="2314a7d0-99d3-4144-8a7f-648170c8b7b7" providerId="ADAL" clId="{EAE80DB9-CB43-4440-9E5C-0B0573E509B3}" dt="2026-02-18T15:42:50.971" v="150" actId="962"/>
          <ac:spMkLst>
            <pc:docMk/>
            <pc:sldMk cId="3029099219" sldId="2142533980"/>
            <ac:spMk id="3" creationId="{0702F2C8-DCAE-3C64-3172-361FC37E4D01}"/>
          </ac:spMkLst>
        </pc:spChg>
        <pc:spChg chg="add mod ord">
          <ac:chgData name="April Durrence" userId="2314a7d0-99d3-4144-8a7f-648170c8b7b7" providerId="ADAL" clId="{EAE80DB9-CB43-4440-9E5C-0B0573E509B3}" dt="2026-02-18T17:08:52.415" v="177" actId="208"/>
          <ac:spMkLst>
            <pc:docMk/>
            <pc:sldMk cId="3029099219" sldId="2142533980"/>
            <ac:spMk id="4" creationId="{4CBF127D-6BF3-A3D3-F13E-BFFDB240949F}"/>
          </ac:spMkLst>
        </pc:spChg>
        <pc:graphicFrameChg chg="modGraphic">
          <ac:chgData name="April Durrence" userId="2314a7d0-99d3-4144-8a7f-648170c8b7b7" providerId="ADAL" clId="{EAE80DB9-CB43-4440-9E5C-0B0573E509B3}" dt="2026-02-18T16:36:35.054" v="176" actId="207"/>
          <ac:graphicFrameMkLst>
            <pc:docMk/>
            <pc:sldMk cId="3029099219" sldId="2142533980"/>
            <ac:graphicFrameMk id="6" creationId="{E94F269D-FEC3-C9B6-D664-25F68569B0D1}"/>
          </ac:graphicFrameMkLst>
        </pc:graphicFrameChg>
      </pc:sldChg>
      <pc:sldChg chg="addSp delSp modSp add mod">
        <pc:chgData name="April Durrence" userId="2314a7d0-99d3-4144-8a7f-648170c8b7b7" providerId="ADAL" clId="{EAE80DB9-CB43-4440-9E5C-0B0573E509B3}" dt="2026-02-18T15:51:32.836" v="165" actId="207"/>
        <pc:sldMkLst>
          <pc:docMk/>
          <pc:sldMk cId="2227374175" sldId="2142533981"/>
        </pc:sldMkLst>
        <pc:spChg chg="add mod">
          <ac:chgData name="April Durrence" userId="2314a7d0-99d3-4144-8a7f-648170c8b7b7" providerId="ADAL" clId="{EAE80DB9-CB43-4440-9E5C-0B0573E509B3}" dt="2026-02-18T15:50:16.351" v="156" actId="962"/>
          <ac:spMkLst>
            <pc:docMk/>
            <pc:sldMk cId="2227374175" sldId="2142533981"/>
            <ac:spMk id="4" creationId="{C819B224-19B0-629C-C04A-69C0F5CF7782}"/>
          </ac:spMkLst>
        </pc:spChg>
        <pc:spChg chg="mod">
          <ac:chgData name="April Durrence" userId="2314a7d0-99d3-4144-8a7f-648170c8b7b7" providerId="ADAL" clId="{EAE80DB9-CB43-4440-9E5C-0B0573E509B3}" dt="2026-02-18T15:51:32.836" v="165" actId="207"/>
          <ac:spMkLst>
            <pc:docMk/>
            <pc:sldMk cId="2227374175" sldId="2142533981"/>
            <ac:spMk id="26" creationId="{931175F7-74D7-53F2-A975-D426F03B5A71}"/>
          </ac:spMkLst>
        </pc:spChg>
        <pc:picChg chg="del">
          <ac:chgData name="April Durrence" userId="2314a7d0-99d3-4144-8a7f-648170c8b7b7" providerId="ADAL" clId="{EAE80DB9-CB43-4440-9E5C-0B0573E509B3}" dt="2026-02-18T15:42:19.969" v="148" actId="478"/>
          <ac:picMkLst>
            <pc:docMk/>
            <pc:sldMk cId="2227374175" sldId="2142533981"/>
            <ac:picMk id="6" creationId="{F6A0D673-A386-F539-4260-0A6CE771CA35}"/>
          </ac:picMkLst>
        </pc:picChg>
      </pc:sldChg>
      <pc:sldChg chg="addSp modSp add mod">
        <pc:chgData name="April Durrence" userId="2314a7d0-99d3-4144-8a7f-648170c8b7b7" providerId="ADAL" clId="{EAE80DB9-CB43-4440-9E5C-0B0573E509B3}" dt="2026-02-19T18:24:20.818" v="180" actId="20577"/>
        <pc:sldMkLst>
          <pc:docMk/>
          <pc:sldMk cId="656462768" sldId="2142533982"/>
        </pc:sldMkLst>
        <pc:spChg chg="mod">
          <ac:chgData name="April Durrence" userId="2314a7d0-99d3-4144-8a7f-648170c8b7b7" providerId="ADAL" clId="{EAE80DB9-CB43-4440-9E5C-0B0573E509B3}" dt="2026-02-19T18:22:53.041" v="179" actId="1076"/>
          <ac:spMkLst>
            <pc:docMk/>
            <pc:sldMk cId="656462768" sldId="2142533982"/>
            <ac:spMk id="2" creationId="{279903C9-9D72-5B9A-A149-2EF04CDD07F0}"/>
          </ac:spMkLst>
        </pc:spChg>
        <pc:spChg chg="add mod">
          <ac:chgData name="April Durrence" userId="2314a7d0-99d3-4144-8a7f-648170c8b7b7" providerId="ADAL" clId="{EAE80DB9-CB43-4440-9E5C-0B0573E509B3}" dt="2026-02-18T15:50:31.996" v="157" actId="962"/>
          <ac:spMkLst>
            <pc:docMk/>
            <pc:sldMk cId="656462768" sldId="2142533982"/>
            <ac:spMk id="4" creationId="{87AA34E0-8B75-BF99-471A-4614CF4D3807}"/>
          </ac:spMkLst>
        </pc:spChg>
        <pc:spChg chg="mod">
          <ac:chgData name="April Durrence" userId="2314a7d0-99d3-4144-8a7f-648170c8b7b7" providerId="ADAL" clId="{EAE80DB9-CB43-4440-9E5C-0B0573E509B3}" dt="2026-02-19T18:24:20.818" v="180" actId="20577"/>
          <ac:spMkLst>
            <pc:docMk/>
            <pc:sldMk cId="656462768" sldId="2142533982"/>
            <ac:spMk id="7" creationId="{DC24A77A-5732-111C-D13D-C86A048713F0}"/>
          </ac:spMkLst>
        </pc:spChg>
        <pc:spChg chg="mod">
          <ac:chgData name="April Durrence" userId="2314a7d0-99d3-4144-8a7f-648170c8b7b7" providerId="ADAL" clId="{EAE80DB9-CB43-4440-9E5C-0B0573E509B3}" dt="2026-02-18T15:51:37.755" v="166" actId="207"/>
          <ac:spMkLst>
            <pc:docMk/>
            <pc:sldMk cId="656462768" sldId="2142533982"/>
            <ac:spMk id="26" creationId="{931175F7-74D7-53F2-A975-D426F03B5A71}"/>
          </ac:spMkLst>
        </pc:spChg>
      </pc:sldChg>
      <pc:sldChg chg="add del">
        <pc:chgData name="April Durrence" userId="2314a7d0-99d3-4144-8a7f-648170c8b7b7" providerId="ADAL" clId="{EAE80DB9-CB43-4440-9E5C-0B0573E509B3}" dt="2026-02-18T15:29:11.951" v="55"/>
        <pc:sldMkLst>
          <pc:docMk/>
          <pc:sldMk cId="2458118655" sldId="2142533982"/>
        </pc:sldMkLst>
      </pc:sldChg>
      <pc:sldChg chg="addSp modSp add mod">
        <pc:chgData name="April Durrence" userId="2314a7d0-99d3-4144-8a7f-648170c8b7b7" providerId="ADAL" clId="{EAE80DB9-CB43-4440-9E5C-0B0573E509B3}" dt="2026-02-18T21:17:52.161" v="178" actId="20577"/>
        <pc:sldMkLst>
          <pc:docMk/>
          <pc:sldMk cId="2927104400" sldId="2142533983"/>
        </pc:sldMkLst>
        <pc:spChg chg="add mod">
          <ac:chgData name="April Durrence" userId="2314a7d0-99d3-4144-8a7f-648170c8b7b7" providerId="ADAL" clId="{EAE80DB9-CB43-4440-9E5C-0B0573E509B3}" dt="2026-02-18T15:34:03.209" v="99"/>
          <ac:spMkLst>
            <pc:docMk/>
            <pc:sldMk cId="2927104400" sldId="2142533983"/>
            <ac:spMk id="2" creationId="{47D4FEDA-E38F-B48A-21CA-0CB0759F15FD}"/>
          </ac:spMkLst>
        </pc:spChg>
        <pc:spChg chg="mod">
          <ac:chgData name="April Durrence" userId="2314a7d0-99d3-4144-8a7f-648170c8b7b7" providerId="ADAL" clId="{EAE80DB9-CB43-4440-9E5C-0B0573E509B3}" dt="2026-02-18T21:17:52.161" v="178" actId="20577"/>
          <ac:spMkLst>
            <pc:docMk/>
            <pc:sldMk cId="2927104400" sldId="2142533983"/>
            <ac:spMk id="26" creationId="{931175F7-74D7-53F2-A975-D426F03B5A71}"/>
          </ac:spMkLst>
        </pc:spChg>
      </pc:sldChg>
      <pc:sldChg chg="delSp modSp new mod">
        <pc:chgData name="April Durrence" userId="2314a7d0-99d3-4144-8a7f-648170c8b7b7" providerId="ADAL" clId="{EAE80DB9-CB43-4440-9E5C-0B0573E509B3}" dt="2026-02-18T15:51:52.250" v="169" actId="207"/>
        <pc:sldMkLst>
          <pc:docMk/>
          <pc:sldMk cId="166134397" sldId="2142533984"/>
        </pc:sldMkLst>
        <pc:spChg chg="del">
          <ac:chgData name="April Durrence" userId="2314a7d0-99d3-4144-8a7f-648170c8b7b7" providerId="ADAL" clId="{EAE80DB9-CB43-4440-9E5C-0B0573E509B3}" dt="2026-02-18T15:40:14.383" v="135" actId="478"/>
          <ac:spMkLst>
            <pc:docMk/>
            <pc:sldMk cId="166134397" sldId="2142533984"/>
            <ac:spMk id="2" creationId="{59BFADB7-5899-35BE-A30D-D44C29647A35}"/>
          </ac:spMkLst>
        </pc:spChg>
        <pc:spChg chg="mod">
          <ac:chgData name="April Durrence" userId="2314a7d0-99d3-4144-8a7f-648170c8b7b7" providerId="ADAL" clId="{EAE80DB9-CB43-4440-9E5C-0B0573E509B3}" dt="2026-02-18T15:51:52.250" v="169" actId="207"/>
          <ac:spMkLst>
            <pc:docMk/>
            <pc:sldMk cId="166134397" sldId="2142533984"/>
            <ac:spMk id="3" creationId="{3D9FBD08-A24A-EE89-E8C8-92663716AF15}"/>
          </ac:spMkLst>
        </pc:spChg>
        <pc:spChg chg="mod">
          <ac:chgData name="April Durrence" userId="2314a7d0-99d3-4144-8a7f-648170c8b7b7" providerId="ADAL" clId="{EAE80DB9-CB43-4440-9E5C-0B0573E509B3}" dt="2026-02-18T15:40:19.346" v="136" actId="962"/>
          <ac:spMkLst>
            <pc:docMk/>
            <pc:sldMk cId="166134397" sldId="2142533984"/>
            <ac:spMk id="4" creationId="{B5E9186E-D1E2-3E02-0950-A9718B7342A2}"/>
          </ac:spMkLst>
        </pc:spChg>
      </pc:sldChg>
      <pc:sldMasterChg chg="modSldLayout">
        <pc:chgData name="April Durrence" userId="2314a7d0-99d3-4144-8a7f-648170c8b7b7" providerId="ADAL" clId="{EAE80DB9-CB43-4440-9E5C-0B0573E509B3}" dt="2026-02-18T15:52:57.901" v="173" actId="14100"/>
        <pc:sldMasterMkLst>
          <pc:docMk/>
          <pc:sldMasterMk cId="3644508449" sldId="2147483660"/>
        </pc:sldMasterMkLst>
        <pc:sldLayoutChg chg="modSp mod">
          <pc:chgData name="April Durrence" userId="2314a7d0-99d3-4144-8a7f-648170c8b7b7" providerId="ADAL" clId="{EAE80DB9-CB43-4440-9E5C-0B0573E509B3}" dt="2026-02-18T15:52:57.901" v="173" actId="14100"/>
          <pc:sldLayoutMkLst>
            <pc:docMk/>
            <pc:sldMasterMk cId="3644508449" sldId="2147483660"/>
            <pc:sldLayoutMk cId="2203174799" sldId="2147483661"/>
          </pc:sldLayoutMkLst>
          <pc:spChg chg="mod">
            <ac:chgData name="April Durrence" userId="2314a7d0-99d3-4144-8a7f-648170c8b7b7" providerId="ADAL" clId="{EAE80DB9-CB43-4440-9E5C-0B0573E509B3}" dt="2026-02-18T15:52:57.901" v="173" actId="14100"/>
            <ac:spMkLst>
              <pc:docMk/>
              <pc:sldMasterMk cId="3644508449" sldId="2147483660"/>
              <pc:sldLayoutMk cId="2203174799" sldId="2147483661"/>
              <ac:spMk id="8" creationId="{D8A6571A-D1BC-45D9-8BBE-1E74645F13D0}"/>
            </ac:spMkLst>
          </pc:spChg>
        </pc:sldLayoutChg>
        <pc:sldLayoutChg chg="modSp mod">
          <pc:chgData name="April Durrence" userId="2314a7d0-99d3-4144-8a7f-648170c8b7b7" providerId="ADAL" clId="{EAE80DB9-CB43-4440-9E5C-0B0573E509B3}" dt="2026-02-18T15:52:43.901" v="172" actId="14100"/>
          <pc:sldLayoutMkLst>
            <pc:docMk/>
            <pc:sldMasterMk cId="3644508449" sldId="2147483660"/>
            <pc:sldLayoutMk cId="2031591503" sldId="2147483665"/>
          </pc:sldLayoutMkLst>
          <pc:spChg chg="mod">
            <ac:chgData name="April Durrence" userId="2314a7d0-99d3-4144-8a7f-648170c8b7b7" providerId="ADAL" clId="{EAE80DB9-CB43-4440-9E5C-0B0573E509B3}" dt="2026-02-18T15:52:43.901" v="172" actId="14100"/>
            <ac:spMkLst>
              <pc:docMk/>
              <pc:sldMasterMk cId="3644508449" sldId="2147483660"/>
              <pc:sldLayoutMk cId="2031591503" sldId="2147483665"/>
              <ac:spMk id="9" creationId="{B8C1A067-A893-4279-B308-9FFC75BAE3A7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59CEB28-C029-40DF-BF01-92AEB4F18460}" type="datetimeFigureOut">
              <a:rPr lang="en-US" smtClean="0"/>
              <a:t>2/1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B911FA9-2C59-4D18-8170-80DF3BAB4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874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11FA9-2C59-4D18-8170-80DF3BAB480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7818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056858-59D2-4D7D-8DE0-C3B63417E7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FFA678-2CB1-276B-91C5-A534743FF0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EF4041-7A21-24F6-98A5-BCDFC96BE5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11EF4D-56A4-C9C3-62B9-44767E6152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11FA9-2C59-4D18-8170-80DF3BAB480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49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1DB867-DCA4-8F69-D68E-CEA0D01EA3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A79D4B-3B4B-7CAE-383D-F01183A9F4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AE74EEF-0046-28E1-5D7A-B24154E2A2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4C0B35-EE80-57CE-F5C7-BA94EB2D8E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11FA9-2C59-4D18-8170-80DF3BAB480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981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11FA9-2C59-4D18-8170-80DF3BAB480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967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D2EAD-5112-4CF4-A3F4-ECDA09F6ECB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352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D2EAD-5112-4CF4-A3F4-ECDA09F6ECB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2851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D2EAD-5112-4CF4-A3F4-ECDA09F6ECB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0668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42249F-430E-8F52-3C79-5E750A2442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A34C0E-F36F-DC8A-B778-C85B87B1A4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6205B1-D363-2986-4E7D-BA50FB8573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C7FFAF-3743-EBAB-7714-DD206A9482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D2EAD-5112-4CF4-A3F4-ECDA09F6ECB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9923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</a:extLst>
          </p:cNvPr>
          <p:cNvSpPr/>
          <p:nvPr userDrawn="1"/>
        </p:nvSpPr>
        <p:spPr>
          <a:xfrm>
            <a:off x="819150" y="939385"/>
            <a:ext cx="11113021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31747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</a:extLst>
          </p:cNvPr>
          <p:cNvSpPr/>
          <p:nvPr userDrawn="1"/>
        </p:nvSpPr>
        <p:spPr>
          <a:xfrm>
            <a:off x="9869865" y="5803392"/>
            <a:ext cx="2212378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1550005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132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1774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7159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1588" y="135027"/>
            <a:ext cx="11582400" cy="646331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20"/>
            <a:ext cx="11582400" cy="276999"/>
          </a:xfrm>
        </p:spPr>
        <p:txBody>
          <a:bodyPr/>
          <a:lstStyle>
            <a:lvl1pPr marL="0" indent="0">
              <a:buNone/>
              <a:defRPr sz="1999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3"/>
            <a:ext cx="11582400" cy="119936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696650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041817" y="134382"/>
            <a:ext cx="8608483" cy="493712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70612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2" y="1570042"/>
            <a:ext cx="10227731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1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673601" y="6509043"/>
            <a:ext cx="28448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401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8594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0087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</a:extLst>
          </p:cNvPr>
          <p:cNvSpPr/>
          <p:nvPr userDrawn="1"/>
        </p:nvSpPr>
        <p:spPr>
          <a:xfrm>
            <a:off x="10237641" y="5803391"/>
            <a:ext cx="1844602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5063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</a:extLst>
          </p:cNvPr>
          <p:cNvSpPr/>
          <p:nvPr userDrawn="1"/>
        </p:nvSpPr>
        <p:spPr>
          <a:xfrm>
            <a:off x="10237641" y="5803391"/>
            <a:ext cx="1844602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3721" y="6328168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3967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854548" y="939385"/>
            <a:ext cx="9994427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31591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95126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8956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8411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191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508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.xml"/><Relationship Id="rId5" Type="http://schemas.openxmlformats.org/officeDocument/2006/relationships/hyperlink" Target="https://www.ncosc.gov/training/ncfs-system-training/ncfs-help-documents/ap-42-printing-1099-correction-form" TargetMode="External"/><Relationship Id="rId4" Type="http://schemas.openxmlformats.org/officeDocument/2006/relationships/hyperlink" Target="https://www.ncosc.gov/training/ncfs-system-training/ncfs-help-documents/ap-41-1099-zero-dollar-invoices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hyperlink" Target="https://www.ncosc.gov/training/ncfs-system-training/ncfs-help-documents/ap-42-printing-1099-correction-form" TargetMode="External"/><Relationship Id="rId5" Type="http://schemas.openxmlformats.org/officeDocument/2006/relationships/hyperlink" Target="https://www.ncosc.gov/training/ncfs-system-training/ncfs-help-documents/ap-41-1099-zero-dollar-invoices" TargetMode="External"/><Relationship Id="rId4" Type="http://schemas.openxmlformats.org/officeDocument/2006/relationships/hyperlink" Target="https://www.ncosc.gov/training/ncfs-system-training/ncfs-help-documents/ap-39-printing-1099-form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AC579C-4068-AE91-7B91-41029F0E797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1099 Corrections Information S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B794B3-967D-9FA6-9474-7B890379E1F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ea typeface="Calibri"/>
                <a:cs typeface="Calibri"/>
              </a:rPr>
              <a:t>February 10, 2026 – 11am-12pm</a:t>
            </a:r>
            <a:endParaRPr lang="en-US"/>
          </a:p>
          <a:p>
            <a:endParaRPr lang="en-US">
              <a:ea typeface="Calibri"/>
              <a:cs typeface="Calibri"/>
            </a:endParaRPr>
          </a:p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7736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B6B3A0-9B01-55EB-265F-5CF9AD3203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299DF0-B812-F135-44C3-82D635C02E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QRG Training Lin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A0B9BF-F7B8-8CAC-E699-F1D662C6C0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dirty="0"/>
              <a:t>Crystal Co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29F84F-C6D4-4582-1513-F3C204EA62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0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64825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43A5A6-1553-514D-2451-56D5278FB4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>
            <a:extLst>
              <a:ext uri="{FF2B5EF4-FFF2-40B4-BE49-F238E27FC236}">
                <a16:creationId xmlns:a16="http://schemas.microsoft.com/office/drawing/2014/main" id="{8D286AA1-5666-9B4E-6EC2-F2E3497A10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Accounts Payable QRG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4F4F7E-0493-2E5E-AC35-E496F1CB9C69}"/>
              </a:ext>
            </a:extLst>
          </p:cNvPr>
          <p:cNvSpPr txBox="1"/>
          <p:nvPr/>
        </p:nvSpPr>
        <p:spPr>
          <a:xfrm>
            <a:off x="1797441" y="1411046"/>
            <a:ext cx="8253287" cy="146520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 algn="l" rtl="0" fontAlgn="base">
              <a:lnSpc>
                <a:spcPct val="2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b="0" i="0" u="sng" strike="noStrike" dirty="0">
                <a:solidFill>
                  <a:srgbClr val="0563C1"/>
                </a:solidFill>
                <a:effectLst/>
                <a:ea typeface="Source Sans Pro"/>
                <a:hlinkClick r:id="rId4"/>
              </a:rPr>
              <a:t>AP-41 1099 Zero Dollar Invoices</a:t>
            </a:r>
            <a:r>
              <a:rPr lang="en-US" sz="2400" b="0" i="0" dirty="0">
                <a:solidFill>
                  <a:srgbClr val="000000"/>
                </a:solidFill>
                <a:effectLst/>
                <a:ea typeface="Source Sans Pro"/>
                <a:hlinkClick r:id="rId4"/>
              </a:rPr>
              <a:t>​</a:t>
            </a:r>
            <a:endParaRPr lang="en-US" sz="2400" b="0" i="0" dirty="0">
              <a:solidFill>
                <a:srgbClr val="000000"/>
              </a:solidFill>
              <a:effectLst/>
              <a:ea typeface="Source Sans Pro"/>
            </a:endParaRPr>
          </a:p>
          <a:p>
            <a:pPr marL="342900" indent="-342900" algn="l" rtl="0" fontAlgn="base">
              <a:lnSpc>
                <a:spcPct val="2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b="0" i="0" u="sng" strike="noStrike" dirty="0">
                <a:solidFill>
                  <a:srgbClr val="0563C1"/>
                </a:solidFill>
                <a:effectLst/>
                <a:ea typeface="Source Sans Pro"/>
                <a:hlinkClick r:id="rId5"/>
              </a:rPr>
              <a:t>AP-42 Printing 1099 Correction Form</a:t>
            </a:r>
            <a:endParaRPr lang="en-US" sz="2400" u="sng" dirty="0">
              <a:solidFill>
                <a:srgbClr val="0563C1"/>
              </a:solidFill>
              <a:ea typeface="Source Sans Pro"/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6AC23FC-A7A1-17C0-24DB-78E9063703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/>
          <a:lstStyle/>
          <a:p>
            <a:fld id="{205155C8-06EF-4D76-B723-5863044CF28B}" type="slidenum">
              <a:rPr lang="en-US" smtClean="0"/>
              <a:pPr/>
              <a:t>11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34542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9FBD08-A24A-EE89-E8C8-92663716A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E328B"/>
                </a:solidFill>
              </a:rPr>
              <a:t>Questions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E9186E-D1E2-3E02-0950-A9718B7342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134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A1DD26-B372-D222-D809-93AFB1E555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79C65-C11C-71FF-4CEE-47F0342487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Presente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6DD2BE-062C-EDD3-D2F8-97E4F6CDDACE}"/>
              </a:ext>
            </a:extLst>
          </p:cNvPr>
          <p:cNvSpPr txBox="1"/>
          <p:nvPr/>
        </p:nvSpPr>
        <p:spPr>
          <a:xfrm>
            <a:off x="1875453" y="1754155"/>
            <a:ext cx="8546841" cy="3662541"/>
          </a:xfrm>
          <a:prstGeom prst="rect">
            <a:avLst/>
          </a:prstGeom>
          <a:solidFill>
            <a:srgbClr val="2E328B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274320"/>
            <a:endParaRPr lang="en-US" sz="800" dirty="0">
              <a:solidFill>
                <a:schemeClr val="bg1"/>
              </a:solidFill>
            </a:endParaRPr>
          </a:p>
          <a:p>
            <a:pPr marL="274320">
              <a:spcBef>
                <a:spcPts val="1800"/>
              </a:spcBef>
              <a:spcAft>
                <a:spcPts val="1800"/>
              </a:spcAft>
            </a:pPr>
            <a:r>
              <a:rPr lang="en-US" sz="2400" dirty="0">
                <a:solidFill>
                  <a:schemeClr val="bg1"/>
                </a:solidFill>
              </a:rPr>
              <a:t>Gwen Earp, </a:t>
            </a:r>
            <a:r>
              <a:rPr lang="en-US" sz="2400" b="1" dirty="0">
                <a:solidFill>
                  <a:schemeClr val="bg1"/>
                </a:solidFill>
              </a:rPr>
              <a:t>Business Systems Manager</a:t>
            </a:r>
          </a:p>
          <a:p>
            <a:pPr marL="274320">
              <a:spcBef>
                <a:spcPts val="1800"/>
              </a:spcBef>
              <a:spcAft>
                <a:spcPts val="1800"/>
              </a:spcAft>
            </a:pPr>
            <a:r>
              <a:rPr lang="en-US" sz="2400" dirty="0">
                <a:solidFill>
                  <a:schemeClr val="bg1"/>
                </a:solidFill>
              </a:rPr>
              <a:t>Crystal Cole, </a:t>
            </a:r>
            <a:r>
              <a:rPr lang="en-US" sz="2400" b="1" dirty="0">
                <a:solidFill>
                  <a:schemeClr val="bg1"/>
                </a:solidFill>
              </a:rPr>
              <a:t>Business Systems Analyst </a:t>
            </a:r>
          </a:p>
          <a:p>
            <a:pPr marL="274320">
              <a:spcBef>
                <a:spcPts val="1800"/>
              </a:spcBef>
              <a:spcAft>
                <a:spcPts val="1800"/>
              </a:spcAft>
            </a:pPr>
            <a:r>
              <a:rPr lang="en-US" sz="2400" dirty="0">
                <a:solidFill>
                  <a:schemeClr val="bg1"/>
                </a:solidFill>
              </a:rPr>
              <a:t>Jennifer Pacheco, </a:t>
            </a:r>
            <a:r>
              <a:rPr lang="en-US" sz="2400" b="1" dirty="0">
                <a:solidFill>
                  <a:schemeClr val="bg1"/>
                </a:solidFill>
              </a:rPr>
              <a:t>Audit, Risk &amp; Compliance Services Director</a:t>
            </a:r>
          </a:p>
          <a:p>
            <a:pPr marL="274320">
              <a:spcBef>
                <a:spcPts val="1800"/>
              </a:spcBef>
              <a:spcAft>
                <a:spcPts val="1800"/>
              </a:spcAft>
            </a:pPr>
            <a:r>
              <a:rPr lang="en-US" sz="2400" dirty="0">
                <a:solidFill>
                  <a:schemeClr val="bg1"/>
                </a:solidFill>
              </a:rPr>
              <a:t>Kathleen Tolbert, </a:t>
            </a:r>
            <a:r>
              <a:rPr lang="en-US" sz="2400" b="1" dirty="0">
                <a:solidFill>
                  <a:schemeClr val="bg1"/>
                </a:solidFill>
              </a:rPr>
              <a:t>Tax and Cost Allocation Specialist Lead</a:t>
            </a:r>
          </a:p>
          <a:p>
            <a:pPr marL="274320"/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DC19CFD5-D453-9681-67E7-670571E09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/>
          <a:lstStyle/>
          <a:p>
            <a:fld id="{205155C8-06EF-4D76-B723-5863044CF28B}" type="slidenum">
              <a:rPr lang="en-US" smtClean="0"/>
              <a:pPr/>
              <a:t>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713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FB52A1-BE64-6C29-4242-3D1DE4090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66CA78-3C6C-BCAE-F523-E4CB71A7B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476284-13E7-63C5-9156-7B9682D91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32B563-5D90-C151-F065-DCA4C7B807F4}"/>
              </a:ext>
            </a:extLst>
          </p:cNvPr>
          <p:cNvSpPr txBox="1"/>
          <p:nvPr/>
        </p:nvSpPr>
        <p:spPr>
          <a:xfrm>
            <a:off x="1410462" y="1433036"/>
            <a:ext cx="8824404" cy="390876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457200" indent="-457200" algn="l" rtl="0" fontAlgn="base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Welcome</a:t>
            </a:r>
            <a:r>
              <a:rPr lang="en-US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</a:p>
          <a:p>
            <a:pPr marL="457200" indent="-45720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1099 Deadlines and Dates</a:t>
            </a:r>
            <a:endParaRPr lang="en-US" sz="2800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457200" indent="-457200" fontAlgn="base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latin typeface="Calibri"/>
                <a:cs typeface="Calibri"/>
              </a:rPr>
              <a:t>Using the NCFS 1099</a:t>
            </a:r>
            <a:r>
              <a:rPr lang="en-US" sz="2800" b="0" i="0" u="none" strike="noStrike" dirty="0">
                <a:solidFill>
                  <a:srgbClr val="000000"/>
                </a:solidFill>
                <a:effectLst/>
                <a:latin typeface="Calibri"/>
                <a:cs typeface="Calibri"/>
              </a:rPr>
              <a:t> Maintenance </a:t>
            </a:r>
            <a:r>
              <a:rPr lang="en-US" sz="2800" dirty="0">
                <a:solidFill>
                  <a:srgbClr val="000000"/>
                </a:solidFill>
                <a:latin typeface="Calibri"/>
                <a:cs typeface="Calibri"/>
              </a:rPr>
              <a:t>Report for Corrections</a:t>
            </a:r>
            <a:endParaRPr lang="en-US" sz="2800" dirty="0">
              <a:solidFill>
                <a:srgbClr val="000000"/>
              </a:solidFill>
              <a:latin typeface="Calibri"/>
              <a:ea typeface="Calibri"/>
              <a:cs typeface="Calibri"/>
            </a:endParaRPr>
          </a:p>
          <a:p>
            <a:pPr marL="457200" indent="-45720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latin typeface="Calibri"/>
                <a:cs typeface="Calibri"/>
              </a:rPr>
              <a:t>Walk through 1099 Corrections QRGs </a:t>
            </a:r>
            <a:endParaRPr lang="en-US" sz="2800" dirty="0">
              <a:solidFill>
                <a:srgbClr val="000000"/>
              </a:solidFill>
              <a:latin typeface="Calibri"/>
              <a:ea typeface="Calibri"/>
              <a:cs typeface="Calibri"/>
            </a:endParaRPr>
          </a:p>
          <a:p>
            <a:pPr marL="457200" indent="-457200" algn="l" rtl="0" fontAlgn="base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u="none" strike="noStrike" dirty="0">
                <a:solidFill>
                  <a:srgbClr val="000000"/>
                </a:solidFill>
                <a:effectLst/>
                <a:latin typeface="Calibri"/>
                <a:cs typeface="Calibri"/>
              </a:rPr>
              <a:t>Agency questions</a:t>
            </a:r>
            <a:endParaRPr lang="en-US" sz="2800" b="0" i="0" dirty="0">
              <a:solidFill>
                <a:srgbClr val="000000"/>
              </a:solidFill>
              <a:effectLst/>
              <a:latin typeface="Calibri"/>
              <a:ea typeface="Calibri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62697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9379A8-69E4-98BE-57B5-3446CDF1B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Key Dates for Tax Year 202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2CA817-057A-4DC2-BF4B-21443FA7DF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ea typeface="Calibri"/>
                <a:cs typeface="Calibri"/>
              </a:rPr>
              <a:t>Gwen Earp</a:t>
            </a:r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8420C-F56F-D82A-6BE5-1305F8D953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4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42254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B7A568-AE32-79FD-4C9A-528155C918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1099 Processing Schedule For Calendar Year 2025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94F269D-FEC3-C9B6-D664-25F68569B0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7734"/>
              </p:ext>
            </p:extLst>
          </p:nvPr>
        </p:nvGraphicFramePr>
        <p:xfrm>
          <a:off x="752475" y="1228724"/>
          <a:ext cx="11060048" cy="48882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95550">
                  <a:extLst>
                    <a:ext uri="{9D8B030D-6E8A-4147-A177-3AD203B41FA5}">
                      <a16:colId xmlns:a16="http://schemas.microsoft.com/office/drawing/2014/main" val="3436074920"/>
                    </a:ext>
                  </a:extLst>
                </a:gridCol>
                <a:gridCol w="8564498">
                  <a:extLst>
                    <a:ext uri="{9D8B030D-6E8A-4147-A177-3AD203B41FA5}">
                      <a16:colId xmlns:a16="http://schemas.microsoft.com/office/drawing/2014/main" val="2000480528"/>
                    </a:ext>
                  </a:extLst>
                </a:gridCol>
              </a:tblGrid>
              <a:tr h="446072">
                <a:tc>
                  <a:txBody>
                    <a:bodyPr/>
                    <a:lstStyle/>
                    <a:p>
                      <a:pPr marL="182880" algn="l"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Key Dates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328B"/>
                    </a:solidFill>
                  </a:tcPr>
                </a:tc>
                <a:tc>
                  <a:txBody>
                    <a:bodyPr/>
                    <a:lstStyle/>
                    <a:p>
                      <a:pPr marL="182880" algn="l"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Required Processes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32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7477116"/>
                  </a:ext>
                </a:extLst>
              </a:tr>
              <a:tr h="313288"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Jan 1- December 31, 2025</a:t>
                      </a:r>
                      <a:endParaRPr lang="en-US" sz="1400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Review 1099 </a:t>
                      </a:r>
                      <a:r>
                        <a:rPr lang="en-US" sz="1400" b="1" u="sng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AP-022 1099 Maintenance Report</a:t>
                      </a: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 for 1099 flagging or changes.</a:t>
                      </a:r>
                      <a:endParaRPr lang="en-US" sz="1400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370847"/>
                  </a:ext>
                </a:extLst>
              </a:tr>
              <a:tr h="534478"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October 15, 2025</a:t>
                      </a:r>
                      <a:endParaRPr lang="en-US" sz="1400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nk for 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99 Contact Form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t to agency users to provide a main 1099 contact for each agency and the agency’s phone number to print on the 1099 forms.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778186"/>
                  </a:ext>
                </a:extLst>
              </a:tr>
              <a:tr h="365504"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December 31, 2025</a:t>
                      </a:r>
                      <a:endParaRPr lang="en-US" sz="1400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2025 calendar year reporting cycle ends.</a:t>
                      </a:r>
                      <a:endParaRPr lang="en-US" sz="1400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B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329292"/>
                  </a:ext>
                </a:extLst>
              </a:tr>
              <a:tr h="501814"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January 29, 2026</a:t>
                      </a:r>
                      <a:endParaRPr lang="en-US" sz="1400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Last day to make changes to 1099 data in NCFS prior to OSC generating the original 1099 electronic IRS file. All changes should be completed by midnight.</a:t>
                      </a:r>
                      <a:r>
                        <a:rPr lang="en-US" sz="1400" kern="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+mn-cs"/>
                        </a:rPr>
                        <a:t>  </a:t>
                      </a:r>
                      <a:endParaRPr lang="en-US" sz="1400" kern="0" dirty="0">
                        <a:solidFill>
                          <a:schemeClr val="dk1"/>
                        </a:solidFill>
                        <a:effectLst/>
                        <a:latin typeface="Arial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8901174"/>
                  </a:ext>
                </a:extLst>
              </a:tr>
              <a:tr h="544522"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January 1-31, 2026</a:t>
                      </a:r>
                      <a:endParaRPr lang="en-US" sz="1400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2025 1099 forms are available for printing in NCFS. Forms must be postmarked to suppliers by January 31</a:t>
                      </a:r>
                      <a:r>
                        <a:rPr lang="en-US" sz="1400" kern="0" baseline="3000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st</a:t>
                      </a: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. </a:t>
                      </a: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  <a:cs typeface="Times New Roman"/>
                          <a:hlinkClick r:id="rId4"/>
                        </a:rPr>
                        <a:t>AP-39 Printing 1099 Form</a:t>
                      </a:r>
                      <a:endParaRPr lang="en-US" sz="1400" dirty="0">
                        <a:effectLst/>
                        <a:latin typeface="Arial"/>
                        <a:cs typeface="Times New Roman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96708"/>
                  </a:ext>
                </a:extLst>
              </a:tr>
              <a:tr h="365504"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January 30, 2026</a:t>
                      </a:r>
                      <a:endParaRPr lang="en-US" sz="1400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OSC will submit the electronic 1099 file to the IRS.</a:t>
                      </a:r>
                      <a:endParaRPr lang="en-US" sz="1400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61518"/>
                  </a:ext>
                </a:extLst>
              </a:tr>
              <a:tr h="355060"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January 31, 2026</a:t>
                      </a:r>
                      <a:endParaRPr lang="en-US" sz="1400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IRS required deadline date for issuing printed 1099 forms to recipients and filing the IRS electronic file.</a:t>
                      </a:r>
                      <a:endParaRPr lang="en-US" sz="1400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4012958"/>
                  </a:ext>
                </a:extLst>
              </a:tr>
              <a:tr h="375946"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February 2, 2026</a:t>
                      </a:r>
                      <a:endParaRPr lang="en-US" sz="1400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</a:rPr>
                        <a:t>Agencies may record 1099 changes in NCFS for 2025 1099s using zero-dollar invoices. </a:t>
                      </a:r>
                      <a:r>
                        <a:rPr lang="en-US" sz="1400" kern="0" dirty="0">
                          <a:effectLst/>
                          <a:latin typeface="Arial"/>
                          <a:ea typeface="Times New Roman" panose="02020603050405020304" pitchFamily="18" charset="0"/>
                          <a:cs typeface="Times New Roman"/>
                          <a:hlinkClick r:id="rId5"/>
                        </a:rPr>
                        <a:t>AP-41 Zero Dollar Invoices</a:t>
                      </a:r>
                      <a:endParaRPr lang="en-US" sz="1400" dirty="0">
                        <a:effectLst/>
                        <a:latin typeface="Arial"/>
                        <a:cs typeface="Times New Roman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1558919"/>
                  </a:ext>
                </a:extLst>
              </a:tr>
              <a:tr h="407275"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dirty="0">
                          <a:effectLst/>
                          <a:latin typeface="Arial"/>
                        </a:rPr>
                        <a:t>March 29, 20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dirty="0">
                          <a:effectLst/>
                          <a:latin typeface="Arial"/>
                        </a:rPr>
                        <a:t>Last day to enter 1099 corrections with zero-dollar invoices in NCFS. Zero-dollar invoices must be in paid status and accounted by midnight.  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952102"/>
                  </a:ext>
                </a:extLst>
              </a:tr>
              <a:tr h="608584"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dirty="0">
                          <a:effectLst/>
                          <a:latin typeface="Arial"/>
                        </a:rPr>
                        <a:t>March 30, 20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dirty="0">
                          <a:effectLst/>
                          <a:latin typeface="Arial"/>
                        </a:rPr>
                        <a:t>2025 1099 correction forms are available for printing in NCFS. OSC will submit the electronic 1099 corrections file to the IRS. </a:t>
                      </a:r>
                      <a:r>
                        <a:rPr lang="en-US" sz="1400" dirty="0">
                          <a:effectLst/>
                          <a:latin typeface="Arial"/>
                          <a:hlinkClick r:id="rId6"/>
                        </a:rPr>
                        <a:t>AP-42 Printing 1099 Correction Form</a:t>
                      </a:r>
                      <a:endParaRPr lang="en-US" sz="1400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1410959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CBF127D-6BF3-A3D3-F13E-BFFDB24094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52475" y="4644806"/>
            <a:ext cx="11060048" cy="1472184"/>
          </a:xfrm>
          <a:prstGeom prst="rect">
            <a:avLst/>
          </a:prstGeom>
          <a:noFill/>
          <a:ln w="57150">
            <a:solidFill>
              <a:srgbClr val="2E328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0702F2C8-DCAE-3C64-3172-361FC37E4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/>
          <a:lstStyle/>
          <a:p>
            <a:fld id="{205155C8-06EF-4D76-B723-5863044CF28B}" type="slidenum">
              <a:rPr lang="en-US" smtClean="0"/>
              <a:pPr/>
              <a:t>5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90992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9379A8-69E4-98BE-57B5-3446CDF1B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NCFS 1099 Maintenance Re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2CA817-057A-4DC2-BF4B-21443FA7DF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rystal Co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8420C-F56F-D82A-6BE5-1305F8D953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6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783638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>
            <a:extLst>
              <a:ext uri="{FF2B5EF4-FFF2-40B4-BE49-F238E27FC236}">
                <a16:creationId xmlns:a16="http://schemas.microsoft.com/office/drawing/2014/main" id="{931175F7-74D7-53F2-A975-D426F03B5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164773" cy="634219"/>
          </a:xfrm>
        </p:spPr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RPTAP022 – Key Columns</a:t>
            </a:r>
          </a:p>
        </p:txBody>
      </p:sp>
      <p:pic>
        <p:nvPicPr>
          <p:cNvPr id="2" name="Picture 1" descr="Example 1099 Maintenance Report output Details tab.">
            <a:extLst>
              <a:ext uri="{FF2B5EF4-FFF2-40B4-BE49-F238E27FC236}">
                <a16:creationId xmlns:a16="http://schemas.microsoft.com/office/drawing/2014/main" id="{F12B6F01-944A-2BA5-E07D-CDBAFBF35F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694" y="1227271"/>
            <a:ext cx="10782102" cy="25778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C24A77A-5732-111C-D13D-C86A048713F0}"/>
              </a:ext>
            </a:extLst>
          </p:cNvPr>
          <p:cNvSpPr txBox="1"/>
          <p:nvPr/>
        </p:nvSpPr>
        <p:spPr>
          <a:xfrm>
            <a:off x="1024694" y="3922147"/>
            <a:ext cx="11078816" cy="286232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dirty="0"/>
              <a:t>Key fields</a:t>
            </a:r>
            <a:endParaRPr lang="en-US" dirty="0">
              <a:ea typeface="Calibri"/>
              <a:cs typeface="Calibri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Supplier name/numb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Invoice Line Income Tax typ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Invoice Distribution Tax type</a:t>
            </a:r>
            <a:endParaRPr lang="en-US" dirty="0">
              <a:ea typeface="Calibri"/>
              <a:cs typeface="Calibri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dirty="0">
              <a:ea typeface="Calibri"/>
              <a:cs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ilter suggestions</a:t>
            </a:r>
            <a:endParaRPr lang="en-US" dirty="0">
              <a:ea typeface="Calibri"/>
              <a:cs typeface="Calibri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Service accounts</a:t>
            </a:r>
            <a:endParaRPr lang="en-US" dirty="0">
              <a:ea typeface="Calibri"/>
              <a:cs typeface="Calibri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Suppliers without Inc</a:t>
            </a:r>
            <a:endParaRPr lang="en-US" dirty="0">
              <a:ea typeface="Calibri"/>
              <a:cs typeface="Calibri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Source for interfaced invoic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Invoice Group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AE2EE50-32E1-1068-EFF7-9AD3EFAC8B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79780" y="2743200"/>
            <a:ext cx="291830" cy="4474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19B224-19B0-629C-C04A-69C0F5CF77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/>
          <a:lstStyle/>
          <a:p>
            <a:fld id="{205155C8-06EF-4D76-B723-5863044CF28B}" type="slidenum">
              <a:rPr lang="en-US" smtClean="0"/>
              <a:pPr/>
              <a:t>7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73741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>
            <a:extLst>
              <a:ext uri="{FF2B5EF4-FFF2-40B4-BE49-F238E27FC236}">
                <a16:creationId xmlns:a16="http://schemas.microsoft.com/office/drawing/2014/main" id="{931175F7-74D7-53F2-A975-D426F03B5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113008" cy="634219"/>
          </a:xfrm>
        </p:spPr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RPTAP022 - Original &amp; Correction - Summa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24A77A-5732-111C-D13D-C86A048713F0}"/>
              </a:ext>
            </a:extLst>
          </p:cNvPr>
          <p:cNvSpPr txBox="1"/>
          <p:nvPr/>
        </p:nvSpPr>
        <p:spPr>
          <a:xfrm>
            <a:off x="838200" y="1309700"/>
            <a:ext cx="10950898" cy="193899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800100" lvl="1" indent="-342900">
              <a:buFont typeface="Arial"/>
              <a:buChar char="•"/>
            </a:pPr>
            <a:r>
              <a:rPr lang="en-US" sz="2400" dirty="0">
                <a:ea typeface="Calibri"/>
                <a:cs typeface="Calibri"/>
              </a:rPr>
              <a:t>1099 Original Payment From and To date parameters for the 1099 original invoices.</a:t>
            </a:r>
          </a:p>
          <a:p>
            <a:pPr marL="800100" lvl="1" indent="-342900">
              <a:buFont typeface="Arial"/>
              <a:buChar char="•"/>
            </a:pPr>
            <a:r>
              <a:rPr lang="en-US" sz="2400" dirty="0">
                <a:ea typeface="Calibri"/>
                <a:cs typeface="Calibri"/>
              </a:rPr>
              <a:t>1099 Correction Payment From and To date parameters for the 1099 correction invoices to correct the original 1099s. (Corrections Payment dates will be 1/1/20XX-3/31/20XX for the year after the original 1099 invoice </a:t>
            </a:r>
            <a:r>
              <a:rPr lang="en-US" sz="2400">
                <a:ea typeface="Calibri"/>
                <a:cs typeface="Calibri"/>
              </a:rPr>
              <a:t>payment dates.)</a:t>
            </a:r>
            <a:endParaRPr lang="en-US" sz="2400" dirty="0">
              <a:ea typeface="Calibri"/>
              <a:cs typeface="Calibri"/>
            </a:endParaRPr>
          </a:p>
        </p:txBody>
      </p:sp>
      <p:pic>
        <p:nvPicPr>
          <p:cNvPr id="6" name="Picture 5" descr="Example 1099 Maintenance Report output Summary tab with correction payment dates and yellow highlighted columns for 1099 Original Invoices Amount, 1099 Corrections Invoices, and Total Amount.">
            <a:extLst>
              <a:ext uri="{FF2B5EF4-FFF2-40B4-BE49-F238E27FC236}">
                <a16:creationId xmlns:a16="http://schemas.microsoft.com/office/drawing/2014/main" id="{EBA12F4A-0A35-1503-9F18-8F072514DC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828" y="3917084"/>
            <a:ext cx="11035863" cy="270777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79903C9-9D72-5B9A-A149-2EF04CDD07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96538" y="5969435"/>
            <a:ext cx="550506" cy="391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A96A16-E78B-60CF-A18B-9F0374A584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573448" y="5970489"/>
            <a:ext cx="550506" cy="391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AA34E0-8B75-BF99-471A-4614CF4D38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/>
          <a:lstStyle/>
          <a:p>
            <a:fld id="{205155C8-06EF-4D76-B723-5863044CF28B}" type="slidenum">
              <a:rPr lang="en-US" smtClean="0"/>
              <a:pPr/>
              <a:t>8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64627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>
            <a:extLst>
              <a:ext uri="{FF2B5EF4-FFF2-40B4-BE49-F238E27FC236}">
                <a16:creationId xmlns:a16="http://schemas.microsoft.com/office/drawing/2014/main" id="{931175F7-74D7-53F2-A975-D426F03B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RPTAP022 - Original &amp; Correction </a:t>
            </a:r>
            <a:r>
              <a:rPr lang="en-US">
                <a:solidFill>
                  <a:srgbClr val="2E328B"/>
                </a:solidFill>
              </a:rPr>
              <a:t>- Detail</a:t>
            </a:r>
            <a:endParaRPr lang="en-US" dirty="0">
              <a:solidFill>
                <a:srgbClr val="2E328B"/>
              </a:solidFill>
            </a:endParaRPr>
          </a:p>
        </p:txBody>
      </p:sp>
      <p:pic>
        <p:nvPicPr>
          <p:cNvPr id="6" name="Picture 5" descr="Example 1099 Maintenance Report output Details tab with correction payment dates and yellow highlighted Invoice Correction Flag column.">
            <a:extLst>
              <a:ext uri="{FF2B5EF4-FFF2-40B4-BE49-F238E27FC236}">
                <a16:creationId xmlns:a16="http://schemas.microsoft.com/office/drawing/2014/main" id="{AB500C5E-65D8-BFCA-B1A8-AD79B22EE7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0" y="1353296"/>
            <a:ext cx="11046370" cy="3813064"/>
          </a:xfrm>
          <a:prstGeom prst="rect">
            <a:avLst/>
          </a:prstGeom>
        </p:spPr>
      </p:pic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7D4FEDA-E38F-B48A-21CA-0CB0759F1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/>
          <a:lstStyle/>
          <a:p>
            <a:fld id="{205155C8-06EF-4D76-B723-5863044CF28B}" type="slidenum">
              <a:rPr lang="en-US" smtClean="0"/>
              <a:pPr/>
              <a:t>9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7104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2"/>
  <p:tag name="ARTICULATE_DESIGN_ID_1_OFFICE THEME" val="XR9E0aNp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_Template_FINAL" id="{711A3E18-2229-4062-B693-93773C9F3570}" vid="{D04656D6-CC52-4751-B34D-F0BE9F61827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0C343D1E5A8E4EBFB16F3B5C7E3959" ma:contentTypeVersion="4" ma:contentTypeDescription="Create a new document." ma:contentTypeScope="" ma:versionID="3ae0df805dad5a1ddfc553a06cc46153">
  <xsd:schema xmlns:xsd="http://www.w3.org/2001/XMLSchema" xmlns:xs="http://www.w3.org/2001/XMLSchema" xmlns:p="http://schemas.microsoft.com/office/2006/metadata/properties" xmlns:ns2="c814155e-3a01-479d-bf1b-1dcd12d3e702" targetNamespace="http://schemas.microsoft.com/office/2006/metadata/properties" ma:root="true" ma:fieldsID="41f2031ab8e267d24a39d1e653d8f838" ns2:_="">
    <xsd:import namespace="c814155e-3a01-479d-bf1b-1dcd12d3e70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14155e-3a01-479d-bf1b-1dcd12d3e7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9386287-4CF7-4D6F-AE52-03617A311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14155e-3a01-479d-bf1b-1dcd12d3e70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26107A5-B21E-4E07-BC7A-BA25024BCC3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16847C-3845-41ED-9D53-816E07630B81}">
  <ds:schemaRefs>
    <ds:schemaRef ds:uri="http://purl.org/dc/terms/"/>
    <ds:schemaRef ds:uri="http://purl.org/dc/elements/1.1/"/>
    <ds:schemaRef ds:uri="c814155e-3a01-479d-bf1b-1dcd12d3e702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8</TotalTime>
  <Words>469</Words>
  <Application>Microsoft Office PowerPoint</Application>
  <PresentationFormat>Widescreen</PresentationFormat>
  <Paragraphs>81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ptos</vt:lpstr>
      <vt:lpstr>Arial</vt:lpstr>
      <vt:lpstr>Calibri</vt:lpstr>
      <vt:lpstr>Century Gothic</vt:lpstr>
      <vt:lpstr>Source Sans Pro</vt:lpstr>
      <vt:lpstr>Wingdings</vt:lpstr>
      <vt:lpstr>1_Office Theme</vt:lpstr>
      <vt:lpstr>think-cell Slide</vt:lpstr>
      <vt:lpstr>1099 Corrections Information Session</vt:lpstr>
      <vt:lpstr>Presenters</vt:lpstr>
      <vt:lpstr>Agenda</vt:lpstr>
      <vt:lpstr>Key Dates for Tax Year 2025</vt:lpstr>
      <vt:lpstr>1099 Processing Schedule For Calendar Year 2025</vt:lpstr>
      <vt:lpstr>NCFS 1099 Maintenance Report</vt:lpstr>
      <vt:lpstr>RPTAP022 – Key Columns</vt:lpstr>
      <vt:lpstr>RPTAP022 - Original &amp; Correction - Summary</vt:lpstr>
      <vt:lpstr>RPTAP022 - Original &amp; Correction - Detail</vt:lpstr>
      <vt:lpstr>QRG Training Links</vt:lpstr>
      <vt:lpstr>Accounts Payable QRGs</vt:lpstr>
      <vt:lpstr>Questions?</vt:lpstr>
    </vt:vector>
  </TitlesOfParts>
  <Company>State of 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CFS Change Control Board</dc:title>
  <dc:creator>Coley, Libby</dc:creator>
  <cp:lastModifiedBy>April Durrence</cp:lastModifiedBy>
  <cp:revision>14</cp:revision>
  <cp:lastPrinted>2024-03-07T15:52:51Z</cp:lastPrinted>
  <dcterms:created xsi:type="dcterms:W3CDTF">2024-02-12T19:22:44Z</dcterms:created>
  <dcterms:modified xsi:type="dcterms:W3CDTF">2026-02-19T18:2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0C343D1E5A8E4EBFB16F3B5C7E3959</vt:lpwstr>
  </property>
  <property fmtid="{D5CDD505-2E9C-101B-9397-08002B2CF9AE}" pid="3" name="_dlc_DocIdItemGuid">
    <vt:lpwstr>4f07bfa0-1118-4a23-9ec1-22a1b99dd7c8</vt:lpwstr>
  </property>
  <property fmtid="{D5CDD505-2E9C-101B-9397-08002B2CF9AE}" pid="4" name="MediaServiceImageTags">
    <vt:lpwstr/>
  </property>
  <property fmtid="{D5CDD505-2E9C-101B-9397-08002B2CF9AE}" pid="5" name="ArticulateGUID">
    <vt:lpwstr>E83B451B-D4C3-4CFE-B492-48470AB83D68</vt:lpwstr>
  </property>
  <property fmtid="{D5CDD505-2E9C-101B-9397-08002B2CF9AE}" pid="6" name="ArticulatePath">
    <vt:lpwstr>https://ncconnect.sharepoint.com/sites/FBR/Shared Documents/Org Change Management/Change Control Board/NCFS Change Control Board (DRAFT)</vt:lpwstr>
  </property>
  <property fmtid="{D5CDD505-2E9C-101B-9397-08002B2CF9AE}" pid="7" name="_ExtendedDescription">
    <vt:lpwstr/>
  </property>
  <property fmtid="{D5CDD505-2E9C-101B-9397-08002B2CF9AE}" pid="8" name="MSIP_Label_8cf4a652-f7e0-491e-8e13-44afaf9aeba3_Enabled">
    <vt:lpwstr>true</vt:lpwstr>
  </property>
  <property fmtid="{D5CDD505-2E9C-101B-9397-08002B2CF9AE}" pid="9" name="MSIP_Label_8cf4a652-f7e0-491e-8e13-44afaf9aeba3_Method">
    <vt:lpwstr>Standard</vt:lpwstr>
  </property>
  <property fmtid="{D5CDD505-2E9C-101B-9397-08002B2CF9AE}" pid="10" name="MSIP_Label_8cf4a652-f7e0-491e-8e13-44afaf9aeba3_ContentBits">
    <vt:lpwstr>0</vt:lpwstr>
  </property>
  <property fmtid="{D5CDD505-2E9C-101B-9397-08002B2CF9AE}" pid="11" name="MSIP_Label_8cf4a652-f7e0-491e-8e13-44afaf9aeba3_SiteId">
    <vt:lpwstr>a1f43f48-54fe-433f-9378-968b45bc6665</vt:lpwstr>
  </property>
  <property fmtid="{D5CDD505-2E9C-101B-9397-08002B2CF9AE}" pid="12" name="MSIP_Label_8cf4a652-f7e0-491e-8e13-44afaf9aeba3_ActionId">
    <vt:lpwstr>bb65c4e4-4f40-43f6-a771-2fb2cb1f5d15</vt:lpwstr>
  </property>
  <property fmtid="{D5CDD505-2E9C-101B-9397-08002B2CF9AE}" pid="13" name="MSIP_Label_8cf4a652-f7e0-491e-8e13-44afaf9aeba3_Name">
    <vt:lpwstr>Anyone</vt:lpwstr>
  </property>
  <property fmtid="{D5CDD505-2E9C-101B-9397-08002B2CF9AE}" pid="14" name="MSIP_Label_8cf4a652-f7e0-491e-8e13-44afaf9aeba3_SetDate">
    <vt:lpwstr>2024-09-18T19:08:40Z</vt:lpwstr>
  </property>
</Properties>
</file>